
<file path=[Content_Types].xml><?xml version="1.0" encoding="utf-8"?>
<Types xmlns="http://schemas.openxmlformats.org/package/2006/content-types"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4" r:id="rId1"/>
  </p:sldMasterIdLst>
  <p:sldIdLst>
    <p:sldId id="256" r:id="rId2"/>
    <p:sldId id="257" r:id="rId3"/>
    <p:sldId id="266" r:id="rId4"/>
    <p:sldId id="259" r:id="rId5"/>
    <p:sldId id="260" r:id="rId6"/>
    <p:sldId id="268" r:id="rId7"/>
    <p:sldId id="262" r:id="rId8"/>
    <p:sldId id="264" r:id="rId9"/>
    <p:sldId id="265" r:id="rId10"/>
    <p:sldId id="269" r:id="rId11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vin Cieslik" initials="KC" lastIdx="6" clrIdx="0">
    <p:extLst>
      <p:ext uri="{19B8F6BF-5375-455C-9EA6-DF929625EA0E}">
        <p15:presenceInfo xmlns:p15="http://schemas.microsoft.com/office/powerpoint/2012/main" userId="88b166e5c4671c4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82AC"/>
    <a:srgbClr val="FFFFFF"/>
    <a:srgbClr val="D2EF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5" d="100"/>
          <a:sy n="55" d="100"/>
        </p:scale>
        <p:origin x="297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18T01:06:44.951" idx="1">
    <p:pos x="10" y="10"/>
    <p:text>"In our scenario, there are many families living in the suburban neighbourhood. There are many examples for the demand of transportation.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08:46.280" idx="2">
    <p:pos x="146" y="146"/>
    <p:text>Many families have routines, for ex., the parents bring their kids to school every morning, or maybe the mom has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29:59.296" idx="3">
    <p:pos x="-64" y="452"/>
    <p:text>incentive with discount-&gt; tenants use the carsharing service for their frequent trips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31:35.265" idx="4">
    <p:pos x="282" y="282"/>
    <p:text>they book the same time slot of a weekday for a long time in advance, maybe on a weekly, bi-weekly or monthly basis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33:09.052" idx="5">
    <p:pos x="282" y="418"/>
    <p:text>advantage not only money, but also safety/no worries about availablity</p:text>
    <p:extLst>
      <p:ext uri="{C676402C-5697-4E1C-873F-D02D1690AC5C}">
        <p15:threadingInfo xmlns:p15="http://schemas.microsoft.com/office/powerpoint/2012/main" timeZoneBias="-120">
          <p15:parentCm authorId="1" idx="4"/>
        </p15:threadingInfo>
      </p:ext>
    </p:extLst>
  </p:cm>
  <p:cm authorId="1" dt="2019-10-18T01:34:22.097" idx="6">
    <p:pos x="282" y="554"/>
    <p:text>for landlord, who offers cars, planning safety and higher utilization</p:text>
    <p:extLst>
      <p:ext uri="{C676402C-5697-4E1C-873F-D02D1690AC5C}">
        <p15:threadingInfo xmlns:p15="http://schemas.microsoft.com/office/powerpoint/2012/main" timeZoneBias="-120">
          <p15:parentCm authorId="1" idx="4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18T01:06:44.951" idx="1">
    <p:pos x="10" y="10"/>
    <p:text>"In our scenario, there are many families living in the suburban neighbourhood. There are many examples for the demand of transportation.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08:46.280" idx="2">
    <p:pos x="146" y="146"/>
    <p:text>Many families have routines, for ex., the parents bring their kids to school every morning, or maybe the mom has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29:59.296" idx="3">
    <p:pos x="-64" y="452"/>
    <p:text>incentive with discount-&gt; tenants use the carsharing service for their frequent trips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31:35.265" idx="4">
    <p:pos x="282" y="282"/>
    <p:text>they book the same time slot of a weekday for a long time in advance, maybe on a weekly, bi-weekly or monthly basis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33:09.052" idx="5">
    <p:pos x="282" y="418"/>
    <p:text>advantage not only money, but also safety/no worries about availablity</p:text>
    <p:extLst>
      <p:ext uri="{C676402C-5697-4E1C-873F-D02D1690AC5C}">
        <p15:threadingInfo xmlns:p15="http://schemas.microsoft.com/office/powerpoint/2012/main" timeZoneBias="-120">
          <p15:parentCm authorId="1" idx="4"/>
        </p15:threadingInfo>
      </p:ext>
    </p:extLst>
  </p:cm>
  <p:cm authorId="1" dt="2019-10-18T01:34:22.097" idx="6">
    <p:pos x="282" y="554"/>
    <p:text>for landlord, who offers cars, planning safety and higher utilization</p:text>
    <p:extLst>
      <p:ext uri="{C676402C-5697-4E1C-873F-D02D1690AC5C}">
        <p15:threadingInfo xmlns:p15="http://schemas.microsoft.com/office/powerpoint/2012/main" timeZoneBias="-120">
          <p15:parentCm authorId="1" idx="4"/>
        </p15:threadingInfo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841B7A9-42CF-4EDA-B083-322B483A1806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B0C212D1-40B7-4C3E-BC05-A893AC73881D}">
      <dgm:prSet phldrT="[Text]"/>
      <dgm:spPr/>
      <dgm:t>
        <a:bodyPr/>
        <a:lstStyle/>
        <a:p>
          <a:r>
            <a:rPr lang="de-DE" dirty="0" err="1"/>
            <a:t>low</a:t>
          </a:r>
          <a:r>
            <a:rPr lang="de-DE" dirty="0"/>
            <a:t> rate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utilization</a:t>
          </a:r>
          <a:endParaRPr lang="de-DE" dirty="0"/>
        </a:p>
      </dgm:t>
    </dgm:pt>
    <dgm:pt modelId="{45FEDDC4-A720-4E1E-9333-2BE68B9781C5}" type="parTrans" cxnId="{63BFF116-113D-47C3-AA84-3B3013672DDA}">
      <dgm:prSet/>
      <dgm:spPr/>
      <dgm:t>
        <a:bodyPr/>
        <a:lstStyle/>
        <a:p>
          <a:endParaRPr lang="de-DE"/>
        </a:p>
      </dgm:t>
    </dgm:pt>
    <dgm:pt modelId="{A4A39B86-ECC6-4275-8927-D19B97B14F32}" type="sibTrans" cxnId="{63BFF116-113D-47C3-AA84-3B3013672DDA}">
      <dgm:prSet/>
      <dgm:spPr/>
      <dgm:t>
        <a:bodyPr/>
        <a:lstStyle/>
        <a:p>
          <a:endParaRPr lang="de-DE"/>
        </a:p>
      </dgm:t>
    </dgm:pt>
    <dgm:pt modelId="{03CA307D-656D-44A8-A851-83CB1C1C3BC3}">
      <dgm:prSet phldrT="[Text]"/>
      <dgm:spPr/>
      <dgm:t>
        <a:bodyPr/>
        <a:lstStyle/>
        <a:p>
          <a:r>
            <a:rPr lang="de-DE" dirty="0" err="1"/>
            <a:t>which</a:t>
          </a:r>
          <a:r>
            <a:rPr lang="de-DE" dirty="0"/>
            <a:t> </a:t>
          </a:r>
          <a:r>
            <a:rPr lang="de-DE" dirty="0" err="1"/>
            <a:t>demand</a:t>
          </a:r>
          <a:r>
            <a:rPr lang="de-DE" dirty="0"/>
            <a:t> </a:t>
          </a:r>
          <a:r>
            <a:rPr lang="de-DE" dirty="0" err="1"/>
            <a:t>is</a:t>
          </a:r>
          <a:r>
            <a:rPr lang="de-DE" dirty="0"/>
            <a:t> not </a:t>
          </a:r>
          <a:r>
            <a:rPr lang="de-DE" dirty="0" err="1"/>
            <a:t>yet</a:t>
          </a:r>
          <a:r>
            <a:rPr lang="de-DE" dirty="0"/>
            <a:t> </a:t>
          </a:r>
          <a:r>
            <a:rPr lang="de-DE" dirty="0" err="1"/>
            <a:t>served</a:t>
          </a:r>
          <a:r>
            <a:rPr lang="de-DE" dirty="0"/>
            <a:t>?</a:t>
          </a:r>
        </a:p>
      </dgm:t>
    </dgm:pt>
    <dgm:pt modelId="{3A292708-6AF0-4B28-8E5C-3785E5535906}" type="parTrans" cxnId="{9DDCE28F-0250-4BB5-92D8-B098691205A0}">
      <dgm:prSet/>
      <dgm:spPr/>
      <dgm:t>
        <a:bodyPr/>
        <a:lstStyle/>
        <a:p>
          <a:endParaRPr lang="de-DE"/>
        </a:p>
      </dgm:t>
    </dgm:pt>
    <dgm:pt modelId="{FE0DCDCE-850B-4F0A-A110-E131479267FB}" type="sibTrans" cxnId="{9DDCE28F-0250-4BB5-92D8-B098691205A0}">
      <dgm:prSet/>
      <dgm:spPr/>
      <dgm:t>
        <a:bodyPr/>
        <a:lstStyle/>
        <a:p>
          <a:endParaRPr lang="de-DE"/>
        </a:p>
      </dgm:t>
    </dgm:pt>
    <dgm:pt modelId="{7431FB5D-A735-4ECE-8CEF-FCB3FAC840D7}" type="pres">
      <dgm:prSet presAssocID="{E841B7A9-42CF-4EDA-B083-322B483A1806}" presName="linearFlow" presStyleCnt="0">
        <dgm:presLayoutVars>
          <dgm:resizeHandles val="exact"/>
        </dgm:presLayoutVars>
      </dgm:prSet>
      <dgm:spPr/>
    </dgm:pt>
    <dgm:pt modelId="{C74B1711-EAC8-4DA4-A0F4-5AA7897237C0}" type="pres">
      <dgm:prSet presAssocID="{B0C212D1-40B7-4C3E-BC05-A893AC73881D}" presName="node" presStyleLbl="node1" presStyleIdx="0" presStyleCnt="2" custLinFactNeighborY="-1578">
        <dgm:presLayoutVars>
          <dgm:bulletEnabled val="1"/>
        </dgm:presLayoutVars>
      </dgm:prSet>
      <dgm:spPr/>
    </dgm:pt>
    <dgm:pt modelId="{6561D696-83E4-47BF-9633-9AC5650B5FE8}" type="pres">
      <dgm:prSet presAssocID="{A4A39B86-ECC6-4275-8927-D19B97B14F32}" presName="sibTrans" presStyleLbl="sibTrans2D1" presStyleIdx="0" presStyleCnt="1"/>
      <dgm:spPr/>
    </dgm:pt>
    <dgm:pt modelId="{AB887122-E55C-4126-BF68-368C315B695A}" type="pres">
      <dgm:prSet presAssocID="{A4A39B86-ECC6-4275-8927-D19B97B14F32}" presName="connectorText" presStyleLbl="sibTrans2D1" presStyleIdx="0" presStyleCnt="1"/>
      <dgm:spPr/>
    </dgm:pt>
    <dgm:pt modelId="{6E5ECF0E-3906-45B5-A396-27698D06AE6A}" type="pres">
      <dgm:prSet presAssocID="{03CA307D-656D-44A8-A851-83CB1C1C3BC3}" presName="node" presStyleLbl="node1" presStyleIdx="1" presStyleCnt="2">
        <dgm:presLayoutVars>
          <dgm:bulletEnabled val="1"/>
        </dgm:presLayoutVars>
      </dgm:prSet>
      <dgm:spPr/>
    </dgm:pt>
  </dgm:ptLst>
  <dgm:cxnLst>
    <dgm:cxn modelId="{D80D3F01-CB83-4ABA-92B1-364F30BAD626}" type="presOf" srcId="{A4A39B86-ECC6-4275-8927-D19B97B14F32}" destId="{AB887122-E55C-4126-BF68-368C315B695A}" srcOrd="1" destOrd="0" presId="urn:microsoft.com/office/officeart/2005/8/layout/process2"/>
    <dgm:cxn modelId="{63BFF116-113D-47C3-AA84-3B3013672DDA}" srcId="{E841B7A9-42CF-4EDA-B083-322B483A1806}" destId="{B0C212D1-40B7-4C3E-BC05-A893AC73881D}" srcOrd="0" destOrd="0" parTransId="{45FEDDC4-A720-4E1E-9333-2BE68B9781C5}" sibTransId="{A4A39B86-ECC6-4275-8927-D19B97B14F32}"/>
    <dgm:cxn modelId="{D29DAF39-9E24-4381-9616-222CDDEDDF1A}" type="presOf" srcId="{03CA307D-656D-44A8-A851-83CB1C1C3BC3}" destId="{6E5ECF0E-3906-45B5-A396-27698D06AE6A}" srcOrd="0" destOrd="0" presId="urn:microsoft.com/office/officeart/2005/8/layout/process2"/>
    <dgm:cxn modelId="{F6A17965-D426-4EB9-801A-1CC2EB1FDF89}" type="presOf" srcId="{B0C212D1-40B7-4C3E-BC05-A893AC73881D}" destId="{C74B1711-EAC8-4DA4-A0F4-5AA7897237C0}" srcOrd="0" destOrd="0" presId="urn:microsoft.com/office/officeart/2005/8/layout/process2"/>
    <dgm:cxn modelId="{0D15327E-32B5-421A-9ECD-C98896E979F5}" type="presOf" srcId="{E841B7A9-42CF-4EDA-B083-322B483A1806}" destId="{7431FB5D-A735-4ECE-8CEF-FCB3FAC840D7}" srcOrd="0" destOrd="0" presId="urn:microsoft.com/office/officeart/2005/8/layout/process2"/>
    <dgm:cxn modelId="{9DDCE28F-0250-4BB5-92D8-B098691205A0}" srcId="{E841B7A9-42CF-4EDA-B083-322B483A1806}" destId="{03CA307D-656D-44A8-A851-83CB1C1C3BC3}" srcOrd="1" destOrd="0" parTransId="{3A292708-6AF0-4B28-8E5C-3785E5535906}" sibTransId="{FE0DCDCE-850B-4F0A-A110-E131479267FB}"/>
    <dgm:cxn modelId="{94B984E7-FDCC-42FD-942D-C86CF942C963}" type="presOf" srcId="{A4A39B86-ECC6-4275-8927-D19B97B14F32}" destId="{6561D696-83E4-47BF-9633-9AC5650B5FE8}" srcOrd="0" destOrd="0" presId="urn:microsoft.com/office/officeart/2005/8/layout/process2"/>
    <dgm:cxn modelId="{915896A7-7B0E-4AB1-BB59-B03367A635CF}" type="presParOf" srcId="{7431FB5D-A735-4ECE-8CEF-FCB3FAC840D7}" destId="{C74B1711-EAC8-4DA4-A0F4-5AA7897237C0}" srcOrd="0" destOrd="0" presId="urn:microsoft.com/office/officeart/2005/8/layout/process2"/>
    <dgm:cxn modelId="{0F095F18-82E9-4A6A-9AD7-971DB7E7385E}" type="presParOf" srcId="{7431FB5D-A735-4ECE-8CEF-FCB3FAC840D7}" destId="{6561D696-83E4-47BF-9633-9AC5650B5FE8}" srcOrd="1" destOrd="0" presId="urn:microsoft.com/office/officeart/2005/8/layout/process2"/>
    <dgm:cxn modelId="{A94BEE01-648B-483B-8A00-ECD89330EA38}" type="presParOf" srcId="{6561D696-83E4-47BF-9633-9AC5650B5FE8}" destId="{AB887122-E55C-4126-BF68-368C315B695A}" srcOrd="0" destOrd="0" presId="urn:microsoft.com/office/officeart/2005/8/layout/process2"/>
    <dgm:cxn modelId="{91D0BF5B-C643-4897-B31B-A9BB1380DDA7}" type="presParOf" srcId="{7431FB5D-A735-4ECE-8CEF-FCB3FAC840D7}" destId="{6E5ECF0E-3906-45B5-A396-27698D06AE6A}" srcOrd="2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841B7A9-42CF-4EDA-B083-322B483A1806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B0C212D1-40B7-4C3E-BC05-A893AC73881D}">
      <dgm:prSet phldrT="[Text]"/>
      <dgm:spPr/>
      <dgm:t>
        <a:bodyPr/>
        <a:lstStyle/>
        <a:p>
          <a:r>
            <a:rPr lang="de-DE" dirty="0" err="1"/>
            <a:t>low</a:t>
          </a:r>
          <a:r>
            <a:rPr lang="de-DE" dirty="0"/>
            <a:t> rate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utilization</a:t>
          </a:r>
          <a:endParaRPr lang="de-DE" dirty="0"/>
        </a:p>
      </dgm:t>
    </dgm:pt>
    <dgm:pt modelId="{45FEDDC4-A720-4E1E-9333-2BE68B9781C5}" type="parTrans" cxnId="{63BFF116-113D-47C3-AA84-3B3013672DDA}">
      <dgm:prSet/>
      <dgm:spPr/>
      <dgm:t>
        <a:bodyPr/>
        <a:lstStyle/>
        <a:p>
          <a:endParaRPr lang="de-DE"/>
        </a:p>
      </dgm:t>
    </dgm:pt>
    <dgm:pt modelId="{A4A39B86-ECC6-4275-8927-D19B97B14F32}" type="sibTrans" cxnId="{63BFF116-113D-47C3-AA84-3B3013672DDA}">
      <dgm:prSet/>
      <dgm:spPr/>
      <dgm:t>
        <a:bodyPr/>
        <a:lstStyle/>
        <a:p>
          <a:endParaRPr lang="de-DE"/>
        </a:p>
      </dgm:t>
    </dgm:pt>
    <dgm:pt modelId="{03CA307D-656D-44A8-A851-83CB1C1C3BC3}">
      <dgm:prSet phldrT="[Text]"/>
      <dgm:spPr/>
      <dgm:t>
        <a:bodyPr/>
        <a:lstStyle/>
        <a:p>
          <a:r>
            <a:rPr lang="de-DE" dirty="0" err="1"/>
            <a:t>which</a:t>
          </a:r>
          <a:r>
            <a:rPr lang="de-DE" dirty="0"/>
            <a:t> </a:t>
          </a:r>
          <a:r>
            <a:rPr lang="de-DE" dirty="0" err="1"/>
            <a:t>demand</a:t>
          </a:r>
          <a:r>
            <a:rPr lang="de-DE" dirty="0"/>
            <a:t> </a:t>
          </a:r>
          <a:r>
            <a:rPr lang="de-DE" dirty="0" err="1"/>
            <a:t>is</a:t>
          </a:r>
          <a:r>
            <a:rPr lang="de-DE" dirty="0"/>
            <a:t> not </a:t>
          </a:r>
          <a:r>
            <a:rPr lang="de-DE" dirty="0" err="1"/>
            <a:t>yet</a:t>
          </a:r>
          <a:r>
            <a:rPr lang="de-DE" dirty="0"/>
            <a:t> </a:t>
          </a:r>
          <a:r>
            <a:rPr lang="de-DE" dirty="0" err="1"/>
            <a:t>served</a:t>
          </a:r>
          <a:r>
            <a:rPr lang="de-DE" dirty="0"/>
            <a:t>?</a:t>
          </a:r>
        </a:p>
      </dgm:t>
    </dgm:pt>
    <dgm:pt modelId="{3A292708-6AF0-4B28-8E5C-3785E5535906}" type="parTrans" cxnId="{9DDCE28F-0250-4BB5-92D8-B098691205A0}">
      <dgm:prSet/>
      <dgm:spPr/>
      <dgm:t>
        <a:bodyPr/>
        <a:lstStyle/>
        <a:p>
          <a:endParaRPr lang="de-DE"/>
        </a:p>
      </dgm:t>
    </dgm:pt>
    <dgm:pt modelId="{FE0DCDCE-850B-4F0A-A110-E131479267FB}" type="sibTrans" cxnId="{9DDCE28F-0250-4BB5-92D8-B098691205A0}">
      <dgm:prSet/>
      <dgm:spPr/>
      <dgm:t>
        <a:bodyPr/>
        <a:lstStyle/>
        <a:p>
          <a:endParaRPr lang="de-DE"/>
        </a:p>
      </dgm:t>
    </dgm:pt>
    <dgm:pt modelId="{7431FB5D-A735-4ECE-8CEF-FCB3FAC840D7}" type="pres">
      <dgm:prSet presAssocID="{E841B7A9-42CF-4EDA-B083-322B483A1806}" presName="linearFlow" presStyleCnt="0">
        <dgm:presLayoutVars>
          <dgm:resizeHandles val="exact"/>
        </dgm:presLayoutVars>
      </dgm:prSet>
      <dgm:spPr/>
    </dgm:pt>
    <dgm:pt modelId="{C74B1711-EAC8-4DA4-A0F4-5AA7897237C0}" type="pres">
      <dgm:prSet presAssocID="{B0C212D1-40B7-4C3E-BC05-A893AC73881D}" presName="node" presStyleLbl="node1" presStyleIdx="0" presStyleCnt="2" custLinFactNeighborY="-1578">
        <dgm:presLayoutVars>
          <dgm:bulletEnabled val="1"/>
        </dgm:presLayoutVars>
      </dgm:prSet>
      <dgm:spPr/>
    </dgm:pt>
    <dgm:pt modelId="{6561D696-83E4-47BF-9633-9AC5650B5FE8}" type="pres">
      <dgm:prSet presAssocID="{A4A39B86-ECC6-4275-8927-D19B97B14F32}" presName="sibTrans" presStyleLbl="sibTrans2D1" presStyleIdx="0" presStyleCnt="1"/>
      <dgm:spPr/>
    </dgm:pt>
    <dgm:pt modelId="{AB887122-E55C-4126-BF68-368C315B695A}" type="pres">
      <dgm:prSet presAssocID="{A4A39B86-ECC6-4275-8927-D19B97B14F32}" presName="connectorText" presStyleLbl="sibTrans2D1" presStyleIdx="0" presStyleCnt="1"/>
      <dgm:spPr/>
    </dgm:pt>
    <dgm:pt modelId="{6E5ECF0E-3906-45B5-A396-27698D06AE6A}" type="pres">
      <dgm:prSet presAssocID="{03CA307D-656D-44A8-A851-83CB1C1C3BC3}" presName="node" presStyleLbl="node1" presStyleIdx="1" presStyleCnt="2">
        <dgm:presLayoutVars>
          <dgm:bulletEnabled val="1"/>
        </dgm:presLayoutVars>
      </dgm:prSet>
      <dgm:spPr/>
    </dgm:pt>
  </dgm:ptLst>
  <dgm:cxnLst>
    <dgm:cxn modelId="{D80D3F01-CB83-4ABA-92B1-364F30BAD626}" type="presOf" srcId="{A4A39B86-ECC6-4275-8927-D19B97B14F32}" destId="{AB887122-E55C-4126-BF68-368C315B695A}" srcOrd="1" destOrd="0" presId="urn:microsoft.com/office/officeart/2005/8/layout/process2"/>
    <dgm:cxn modelId="{63BFF116-113D-47C3-AA84-3B3013672DDA}" srcId="{E841B7A9-42CF-4EDA-B083-322B483A1806}" destId="{B0C212D1-40B7-4C3E-BC05-A893AC73881D}" srcOrd="0" destOrd="0" parTransId="{45FEDDC4-A720-4E1E-9333-2BE68B9781C5}" sibTransId="{A4A39B86-ECC6-4275-8927-D19B97B14F32}"/>
    <dgm:cxn modelId="{D29DAF39-9E24-4381-9616-222CDDEDDF1A}" type="presOf" srcId="{03CA307D-656D-44A8-A851-83CB1C1C3BC3}" destId="{6E5ECF0E-3906-45B5-A396-27698D06AE6A}" srcOrd="0" destOrd="0" presId="urn:microsoft.com/office/officeart/2005/8/layout/process2"/>
    <dgm:cxn modelId="{F6A17965-D426-4EB9-801A-1CC2EB1FDF89}" type="presOf" srcId="{B0C212D1-40B7-4C3E-BC05-A893AC73881D}" destId="{C74B1711-EAC8-4DA4-A0F4-5AA7897237C0}" srcOrd="0" destOrd="0" presId="urn:microsoft.com/office/officeart/2005/8/layout/process2"/>
    <dgm:cxn modelId="{0D15327E-32B5-421A-9ECD-C98896E979F5}" type="presOf" srcId="{E841B7A9-42CF-4EDA-B083-322B483A1806}" destId="{7431FB5D-A735-4ECE-8CEF-FCB3FAC840D7}" srcOrd="0" destOrd="0" presId="urn:microsoft.com/office/officeart/2005/8/layout/process2"/>
    <dgm:cxn modelId="{9DDCE28F-0250-4BB5-92D8-B098691205A0}" srcId="{E841B7A9-42CF-4EDA-B083-322B483A1806}" destId="{03CA307D-656D-44A8-A851-83CB1C1C3BC3}" srcOrd="1" destOrd="0" parTransId="{3A292708-6AF0-4B28-8E5C-3785E5535906}" sibTransId="{FE0DCDCE-850B-4F0A-A110-E131479267FB}"/>
    <dgm:cxn modelId="{94B984E7-FDCC-42FD-942D-C86CF942C963}" type="presOf" srcId="{A4A39B86-ECC6-4275-8927-D19B97B14F32}" destId="{6561D696-83E4-47BF-9633-9AC5650B5FE8}" srcOrd="0" destOrd="0" presId="urn:microsoft.com/office/officeart/2005/8/layout/process2"/>
    <dgm:cxn modelId="{915896A7-7B0E-4AB1-BB59-B03367A635CF}" type="presParOf" srcId="{7431FB5D-A735-4ECE-8CEF-FCB3FAC840D7}" destId="{C74B1711-EAC8-4DA4-A0F4-5AA7897237C0}" srcOrd="0" destOrd="0" presId="urn:microsoft.com/office/officeart/2005/8/layout/process2"/>
    <dgm:cxn modelId="{0F095F18-82E9-4A6A-9AD7-971DB7E7385E}" type="presParOf" srcId="{7431FB5D-A735-4ECE-8CEF-FCB3FAC840D7}" destId="{6561D696-83E4-47BF-9633-9AC5650B5FE8}" srcOrd="1" destOrd="0" presId="urn:microsoft.com/office/officeart/2005/8/layout/process2"/>
    <dgm:cxn modelId="{A94BEE01-648B-483B-8A00-ECD89330EA38}" type="presParOf" srcId="{6561D696-83E4-47BF-9633-9AC5650B5FE8}" destId="{AB887122-E55C-4126-BF68-368C315B695A}" srcOrd="0" destOrd="0" presId="urn:microsoft.com/office/officeart/2005/8/layout/process2"/>
    <dgm:cxn modelId="{91D0BF5B-C643-4897-B31B-A9BB1380DDA7}" type="presParOf" srcId="{7431FB5D-A735-4ECE-8CEF-FCB3FAC840D7}" destId="{6E5ECF0E-3906-45B5-A396-27698D06AE6A}" srcOrd="2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841B7A9-42CF-4EDA-B083-322B483A1806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B0C212D1-40B7-4C3E-BC05-A893AC73881D}">
      <dgm:prSet phldrT="[Text]" custT="1"/>
      <dgm:spPr/>
      <dgm:t>
        <a:bodyPr/>
        <a:lstStyle/>
        <a:p>
          <a:r>
            <a:rPr lang="de-DE" sz="3500" dirty="0" err="1"/>
            <a:t>user</a:t>
          </a:r>
          <a:r>
            <a:rPr lang="de-DE" sz="3500" dirty="0"/>
            <a:t> </a:t>
          </a:r>
          <a:r>
            <a:rPr lang="de-DE" sz="3500" dirty="0" err="1"/>
            <a:t>behavior</a:t>
          </a:r>
          <a:endParaRPr lang="de-DE" sz="3500" dirty="0"/>
        </a:p>
      </dgm:t>
    </dgm:pt>
    <dgm:pt modelId="{45FEDDC4-A720-4E1E-9333-2BE68B9781C5}" type="parTrans" cxnId="{63BFF116-113D-47C3-AA84-3B3013672DDA}">
      <dgm:prSet/>
      <dgm:spPr/>
      <dgm:t>
        <a:bodyPr/>
        <a:lstStyle/>
        <a:p>
          <a:endParaRPr lang="de-DE"/>
        </a:p>
      </dgm:t>
    </dgm:pt>
    <dgm:pt modelId="{A4A39B86-ECC6-4275-8927-D19B97B14F32}" type="sibTrans" cxnId="{63BFF116-113D-47C3-AA84-3B3013672DDA}">
      <dgm:prSet/>
      <dgm:spPr/>
      <dgm:t>
        <a:bodyPr/>
        <a:lstStyle/>
        <a:p>
          <a:endParaRPr lang="de-DE"/>
        </a:p>
      </dgm:t>
    </dgm:pt>
    <dgm:pt modelId="{03CA307D-656D-44A8-A851-83CB1C1C3BC3}">
      <dgm:prSet phldrT="[Text]" custT="1"/>
      <dgm:spPr/>
      <dgm:t>
        <a:bodyPr/>
        <a:lstStyle/>
        <a:p>
          <a:r>
            <a:rPr lang="de-DE" sz="3500" dirty="0"/>
            <a:t>Providing </a:t>
          </a:r>
          <a:r>
            <a:rPr lang="de-DE" sz="3500" dirty="0" err="1"/>
            <a:t>incentives</a:t>
          </a:r>
          <a:endParaRPr lang="de-DE" sz="3500" dirty="0"/>
        </a:p>
      </dgm:t>
    </dgm:pt>
    <dgm:pt modelId="{3A292708-6AF0-4B28-8E5C-3785E5535906}" type="parTrans" cxnId="{9DDCE28F-0250-4BB5-92D8-B098691205A0}">
      <dgm:prSet/>
      <dgm:spPr/>
      <dgm:t>
        <a:bodyPr/>
        <a:lstStyle/>
        <a:p>
          <a:endParaRPr lang="de-DE"/>
        </a:p>
      </dgm:t>
    </dgm:pt>
    <dgm:pt modelId="{FE0DCDCE-850B-4F0A-A110-E131479267FB}" type="sibTrans" cxnId="{9DDCE28F-0250-4BB5-92D8-B098691205A0}">
      <dgm:prSet/>
      <dgm:spPr/>
      <dgm:t>
        <a:bodyPr/>
        <a:lstStyle/>
        <a:p>
          <a:endParaRPr lang="de-DE"/>
        </a:p>
      </dgm:t>
    </dgm:pt>
    <dgm:pt modelId="{7431FB5D-A735-4ECE-8CEF-FCB3FAC840D7}" type="pres">
      <dgm:prSet presAssocID="{E841B7A9-42CF-4EDA-B083-322B483A1806}" presName="linearFlow" presStyleCnt="0">
        <dgm:presLayoutVars>
          <dgm:resizeHandles val="exact"/>
        </dgm:presLayoutVars>
      </dgm:prSet>
      <dgm:spPr/>
    </dgm:pt>
    <dgm:pt modelId="{C74B1711-EAC8-4DA4-A0F4-5AA7897237C0}" type="pres">
      <dgm:prSet presAssocID="{B0C212D1-40B7-4C3E-BC05-A893AC73881D}" presName="node" presStyleLbl="node1" presStyleIdx="0" presStyleCnt="2" custLinFactNeighborY="-1578">
        <dgm:presLayoutVars>
          <dgm:bulletEnabled val="1"/>
        </dgm:presLayoutVars>
      </dgm:prSet>
      <dgm:spPr/>
    </dgm:pt>
    <dgm:pt modelId="{6561D696-83E4-47BF-9633-9AC5650B5FE8}" type="pres">
      <dgm:prSet presAssocID="{A4A39B86-ECC6-4275-8927-D19B97B14F32}" presName="sibTrans" presStyleLbl="sibTrans2D1" presStyleIdx="0" presStyleCnt="1"/>
      <dgm:spPr/>
    </dgm:pt>
    <dgm:pt modelId="{AB887122-E55C-4126-BF68-368C315B695A}" type="pres">
      <dgm:prSet presAssocID="{A4A39B86-ECC6-4275-8927-D19B97B14F32}" presName="connectorText" presStyleLbl="sibTrans2D1" presStyleIdx="0" presStyleCnt="1"/>
      <dgm:spPr/>
    </dgm:pt>
    <dgm:pt modelId="{6E5ECF0E-3906-45B5-A396-27698D06AE6A}" type="pres">
      <dgm:prSet presAssocID="{03CA307D-656D-44A8-A851-83CB1C1C3BC3}" presName="node" presStyleLbl="node1" presStyleIdx="1" presStyleCnt="2">
        <dgm:presLayoutVars>
          <dgm:bulletEnabled val="1"/>
        </dgm:presLayoutVars>
      </dgm:prSet>
      <dgm:spPr/>
    </dgm:pt>
  </dgm:ptLst>
  <dgm:cxnLst>
    <dgm:cxn modelId="{D80D3F01-CB83-4ABA-92B1-364F30BAD626}" type="presOf" srcId="{A4A39B86-ECC6-4275-8927-D19B97B14F32}" destId="{AB887122-E55C-4126-BF68-368C315B695A}" srcOrd="1" destOrd="0" presId="urn:microsoft.com/office/officeart/2005/8/layout/process2"/>
    <dgm:cxn modelId="{63BFF116-113D-47C3-AA84-3B3013672DDA}" srcId="{E841B7A9-42CF-4EDA-B083-322B483A1806}" destId="{B0C212D1-40B7-4C3E-BC05-A893AC73881D}" srcOrd="0" destOrd="0" parTransId="{45FEDDC4-A720-4E1E-9333-2BE68B9781C5}" sibTransId="{A4A39B86-ECC6-4275-8927-D19B97B14F32}"/>
    <dgm:cxn modelId="{D29DAF39-9E24-4381-9616-222CDDEDDF1A}" type="presOf" srcId="{03CA307D-656D-44A8-A851-83CB1C1C3BC3}" destId="{6E5ECF0E-3906-45B5-A396-27698D06AE6A}" srcOrd="0" destOrd="0" presId="urn:microsoft.com/office/officeart/2005/8/layout/process2"/>
    <dgm:cxn modelId="{F6A17965-D426-4EB9-801A-1CC2EB1FDF89}" type="presOf" srcId="{B0C212D1-40B7-4C3E-BC05-A893AC73881D}" destId="{C74B1711-EAC8-4DA4-A0F4-5AA7897237C0}" srcOrd="0" destOrd="0" presId="urn:microsoft.com/office/officeart/2005/8/layout/process2"/>
    <dgm:cxn modelId="{0D15327E-32B5-421A-9ECD-C98896E979F5}" type="presOf" srcId="{E841B7A9-42CF-4EDA-B083-322B483A1806}" destId="{7431FB5D-A735-4ECE-8CEF-FCB3FAC840D7}" srcOrd="0" destOrd="0" presId="urn:microsoft.com/office/officeart/2005/8/layout/process2"/>
    <dgm:cxn modelId="{9DDCE28F-0250-4BB5-92D8-B098691205A0}" srcId="{E841B7A9-42CF-4EDA-B083-322B483A1806}" destId="{03CA307D-656D-44A8-A851-83CB1C1C3BC3}" srcOrd="1" destOrd="0" parTransId="{3A292708-6AF0-4B28-8E5C-3785E5535906}" sibTransId="{FE0DCDCE-850B-4F0A-A110-E131479267FB}"/>
    <dgm:cxn modelId="{94B984E7-FDCC-42FD-942D-C86CF942C963}" type="presOf" srcId="{A4A39B86-ECC6-4275-8927-D19B97B14F32}" destId="{6561D696-83E4-47BF-9633-9AC5650B5FE8}" srcOrd="0" destOrd="0" presId="urn:microsoft.com/office/officeart/2005/8/layout/process2"/>
    <dgm:cxn modelId="{915896A7-7B0E-4AB1-BB59-B03367A635CF}" type="presParOf" srcId="{7431FB5D-A735-4ECE-8CEF-FCB3FAC840D7}" destId="{C74B1711-EAC8-4DA4-A0F4-5AA7897237C0}" srcOrd="0" destOrd="0" presId="urn:microsoft.com/office/officeart/2005/8/layout/process2"/>
    <dgm:cxn modelId="{0F095F18-82E9-4A6A-9AD7-971DB7E7385E}" type="presParOf" srcId="{7431FB5D-A735-4ECE-8CEF-FCB3FAC840D7}" destId="{6561D696-83E4-47BF-9633-9AC5650B5FE8}" srcOrd="1" destOrd="0" presId="urn:microsoft.com/office/officeart/2005/8/layout/process2"/>
    <dgm:cxn modelId="{A94BEE01-648B-483B-8A00-ECD89330EA38}" type="presParOf" srcId="{6561D696-83E4-47BF-9633-9AC5650B5FE8}" destId="{AB887122-E55C-4126-BF68-368C315B695A}" srcOrd="0" destOrd="0" presId="urn:microsoft.com/office/officeart/2005/8/layout/process2"/>
    <dgm:cxn modelId="{91D0BF5B-C643-4897-B31B-A9BB1380DDA7}" type="presParOf" srcId="{7431FB5D-A735-4ECE-8CEF-FCB3FAC840D7}" destId="{6E5ECF0E-3906-45B5-A396-27698D06AE6A}" srcOrd="2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4B1711-EAC8-4DA4-A0F4-5AA7897237C0}">
      <dsp:nvSpPr>
        <dsp:cNvPr id="0" name=""/>
        <dsp:cNvSpPr/>
      </dsp:nvSpPr>
      <dsp:spPr>
        <a:xfrm>
          <a:off x="1917629" y="0"/>
          <a:ext cx="3268195" cy="18156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 err="1"/>
            <a:t>low</a:t>
          </a:r>
          <a:r>
            <a:rPr lang="de-DE" sz="3500" kern="1200" dirty="0"/>
            <a:t> rate </a:t>
          </a:r>
          <a:r>
            <a:rPr lang="de-DE" sz="3500" kern="1200" dirty="0" err="1"/>
            <a:t>of</a:t>
          </a:r>
          <a:r>
            <a:rPr lang="de-DE" sz="3500" kern="1200" dirty="0"/>
            <a:t> </a:t>
          </a:r>
          <a:r>
            <a:rPr lang="de-DE" sz="3500" kern="1200" dirty="0" err="1"/>
            <a:t>utilization</a:t>
          </a:r>
          <a:endParaRPr lang="de-DE" sz="3500" kern="1200" dirty="0"/>
        </a:p>
      </dsp:txBody>
      <dsp:txXfrm>
        <a:off x="1970808" y="53179"/>
        <a:ext cx="3161837" cy="1709306"/>
      </dsp:txXfrm>
    </dsp:sp>
    <dsp:sp modelId="{6561D696-83E4-47BF-9633-9AC5650B5FE8}">
      <dsp:nvSpPr>
        <dsp:cNvPr id="0" name=""/>
        <dsp:cNvSpPr/>
      </dsp:nvSpPr>
      <dsp:spPr>
        <a:xfrm rot="5400000">
          <a:off x="3211082" y="1861332"/>
          <a:ext cx="681289" cy="8170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2800" kern="1200"/>
        </a:p>
      </dsp:txBody>
      <dsp:txXfrm rot="-5400000">
        <a:off x="3306613" y="1929212"/>
        <a:ext cx="490228" cy="476902"/>
      </dsp:txXfrm>
    </dsp:sp>
    <dsp:sp modelId="{6E5ECF0E-3906-45B5-A396-27698D06AE6A}">
      <dsp:nvSpPr>
        <dsp:cNvPr id="0" name=""/>
        <dsp:cNvSpPr/>
      </dsp:nvSpPr>
      <dsp:spPr>
        <a:xfrm>
          <a:off x="1917629" y="2724050"/>
          <a:ext cx="3268195" cy="18156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 err="1"/>
            <a:t>which</a:t>
          </a:r>
          <a:r>
            <a:rPr lang="de-DE" sz="3500" kern="1200" dirty="0"/>
            <a:t> </a:t>
          </a:r>
          <a:r>
            <a:rPr lang="de-DE" sz="3500" kern="1200" dirty="0" err="1"/>
            <a:t>demand</a:t>
          </a:r>
          <a:r>
            <a:rPr lang="de-DE" sz="3500" kern="1200" dirty="0"/>
            <a:t> </a:t>
          </a:r>
          <a:r>
            <a:rPr lang="de-DE" sz="3500" kern="1200" dirty="0" err="1"/>
            <a:t>is</a:t>
          </a:r>
          <a:r>
            <a:rPr lang="de-DE" sz="3500" kern="1200" dirty="0"/>
            <a:t> not </a:t>
          </a:r>
          <a:r>
            <a:rPr lang="de-DE" sz="3500" kern="1200" dirty="0" err="1"/>
            <a:t>yet</a:t>
          </a:r>
          <a:r>
            <a:rPr lang="de-DE" sz="3500" kern="1200" dirty="0"/>
            <a:t> </a:t>
          </a:r>
          <a:r>
            <a:rPr lang="de-DE" sz="3500" kern="1200" dirty="0" err="1"/>
            <a:t>served</a:t>
          </a:r>
          <a:r>
            <a:rPr lang="de-DE" sz="3500" kern="1200" dirty="0"/>
            <a:t>?</a:t>
          </a:r>
        </a:p>
      </dsp:txBody>
      <dsp:txXfrm>
        <a:off x="1970808" y="2777229"/>
        <a:ext cx="3161837" cy="170930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4B1711-EAC8-4DA4-A0F4-5AA7897237C0}">
      <dsp:nvSpPr>
        <dsp:cNvPr id="0" name=""/>
        <dsp:cNvSpPr/>
      </dsp:nvSpPr>
      <dsp:spPr>
        <a:xfrm>
          <a:off x="1917629" y="0"/>
          <a:ext cx="3268195" cy="18156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 err="1"/>
            <a:t>low</a:t>
          </a:r>
          <a:r>
            <a:rPr lang="de-DE" sz="3500" kern="1200" dirty="0"/>
            <a:t> rate </a:t>
          </a:r>
          <a:r>
            <a:rPr lang="de-DE" sz="3500" kern="1200" dirty="0" err="1"/>
            <a:t>of</a:t>
          </a:r>
          <a:r>
            <a:rPr lang="de-DE" sz="3500" kern="1200" dirty="0"/>
            <a:t> </a:t>
          </a:r>
          <a:r>
            <a:rPr lang="de-DE" sz="3500" kern="1200" dirty="0" err="1"/>
            <a:t>utilization</a:t>
          </a:r>
          <a:endParaRPr lang="de-DE" sz="3500" kern="1200" dirty="0"/>
        </a:p>
      </dsp:txBody>
      <dsp:txXfrm>
        <a:off x="1970808" y="53179"/>
        <a:ext cx="3161837" cy="1709306"/>
      </dsp:txXfrm>
    </dsp:sp>
    <dsp:sp modelId="{6561D696-83E4-47BF-9633-9AC5650B5FE8}">
      <dsp:nvSpPr>
        <dsp:cNvPr id="0" name=""/>
        <dsp:cNvSpPr/>
      </dsp:nvSpPr>
      <dsp:spPr>
        <a:xfrm rot="5400000">
          <a:off x="3211082" y="1861332"/>
          <a:ext cx="681289" cy="8170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2800" kern="1200"/>
        </a:p>
      </dsp:txBody>
      <dsp:txXfrm rot="-5400000">
        <a:off x="3306613" y="1929212"/>
        <a:ext cx="490228" cy="476902"/>
      </dsp:txXfrm>
    </dsp:sp>
    <dsp:sp modelId="{6E5ECF0E-3906-45B5-A396-27698D06AE6A}">
      <dsp:nvSpPr>
        <dsp:cNvPr id="0" name=""/>
        <dsp:cNvSpPr/>
      </dsp:nvSpPr>
      <dsp:spPr>
        <a:xfrm>
          <a:off x="1917629" y="2724050"/>
          <a:ext cx="3268195" cy="18156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 err="1"/>
            <a:t>which</a:t>
          </a:r>
          <a:r>
            <a:rPr lang="de-DE" sz="3500" kern="1200" dirty="0"/>
            <a:t> </a:t>
          </a:r>
          <a:r>
            <a:rPr lang="de-DE" sz="3500" kern="1200" dirty="0" err="1"/>
            <a:t>demand</a:t>
          </a:r>
          <a:r>
            <a:rPr lang="de-DE" sz="3500" kern="1200" dirty="0"/>
            <a:t> </a:t>
          </a:r>
          <a:r>
            <a:rPr lang="de-DE" sz="3500" kern="1200" dirty="0" err="1"/>
            <a:t>is</a:t>
          </a:r>
          <a:r>
            <a:rPr lang="de-DE" sz="3500" kern="1200" dirty="0"/>
            <a:t> not </a:t>
          </a:r>
          <a:r>
            <a:rPr lang="de-DE" sz="3500" kern="1200" dirty="0" err="1"/>
            <a:t>yet</a:t>
          </a:r>
          <a:r>
            <a:rPr lang="de-DE" sz="3500" kern="1200" dirty="0"/>
            <a:t> </a:t>
          </a:r>
          <a:r>
            <a:rPr lang="de-DE" sz="3500" kern="1200" dirty="0" err="1"/>
            <a:t>served</a:t>
          </a:r>
          <a:r>
            <a:rPr lang="de-DE" sz="3500" kern="1200" dirty="0"/>
            <a:t>?</a:t>
          </a:r>
        </a:p>
      </dsp:txBody>
      <dsp:txXfrm>
        <a:off x="1970808" y="2777229"/>
        <a:ext cx="3161837" cy="170930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4B1711-EAC8-4DA4-A0F4-5AA7897237C0}">
      <dsp:nvSpPr>
        <dsp:cNvPr id="0" name=""/>
        <dsp:cNvSpPr/>
      </dsp:nvSpPr>
      <dsp:spPr>
        <a:xfrm>
          <a:off x="1120249" y="0"/>
          <a:ext cx="3268195" cy="18156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 err="1"/>
            <a:t>user</a:t>
          </a:r>
          <a:r>
            <a:rPr lang="de-DE" sz="3500" kern="1200" dirty="0"/>
            <a:t> </a:t>
          </a:r>
          <a:r>
            <a:rPr lang="de-DE" sz="3500" kern="1200" dirty="0" err="1"/>
            <a:t>behavior</a:t>
          </a:r>
          <a:endParaRPr lang="de-DE" sz="3500" kern="1200" dirty="0"/>
        </a:p>
      </dsp:txBody>
      <dsp:txXfrm>
        <a:off x="1173428" y="53179"/>
        <a:ext cx="3161837" cy="1709306"/>
      </dsp:txXfrm>
    </dsp:sp>
    <dsp:sp modelId="{6561D696-83E4-47BF-9633-9AC5650B5FE8}">
      <dsp:nvSpPr>
        <dsp:cNvPr id="0" name=""/>
        <dsp:cNvSpPr/>
      </dsp:nvSpPr>
      <dsp:spPr>
        <a:xfrm rot="5400000">
          <a:off x="2413702" y="1861332"/>
          <a:ext cx="681289" cy="8170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3500" kern="1200"/>
        </a:p>
      </dsp:txBody>
      <dsp:txXfrm rot="-5400000">
        <a:off x="2509233" y="1929212"/>
        <a:ext cx="490228" cy="476902"/>
      </dsp:txXfrm>
    </dsp:sp>
    <dsp:sp modelId="{6E5ECF0E-3906-45B5-A396-27698D06AE6A}">
      <dsp:nvSpPr>
        <dsp:cNvPr id="0" name=""/>
        <dsp:cNvSpPr/>
      </dsp:nvSpPr>
      <dsp:spPr>
        <a:xfrm>
          <a:off x="1120249" y="2724050"/>
          <a:ext cx="3268195" cy="18156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/>
            <a:t>Providing </a:t>
          </a:r>
          <a:r>
            <a:rPr lang="de-DE" sz="3500" kern="1200" dirty="0" err="1"/>
            <a:t>incentives</a:t>
          </a:r>
          <a:endParaRPr lang="de-DE" sz="3500" kern="1200" dirty="0"/>
        </a:p>
      </dsp:txBody>
      <dsp:txXfrm>
        <a:off x="1173428" y="2777229"/>
        <a:ext cx="3161837" cy="17093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21509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32246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5766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nsk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970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nskarte für 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596584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hr oder Fal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60462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60615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52001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12840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5769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81357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4310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01294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16468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85683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50555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9386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7" Type="http://schemas.openxmlformats.org/officeDocument/2006/relationships/comments" Target="../comments/comment1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7" Type="http://schemas.openxmlformats.org/officeDocument/2006/relationships/comments" Target="../comments/comment2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ED93CD-CFAB-47E8-B07B-B4F66A7BC5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4156" y="1463505"/>
            <a:ext cx="9733810" cy="4980838"/>
          </a:xfrm>
        </p:spPr>
        <p:txBody>
          <a:bodyPr anchor="ctr">
            <a:normAutofit/>
          </a:bodyPr>
          <a:lstStyle/>
          <a:p>
            <a:pPr algn="l"/>
            <a:r>
              <a:rPr lang="en-PH" sz="6600" dirty="0">
                <a:solidFill>
                  <a:schemeClr val="tx2"/>
                </a:solidFill>
              </a:rPr>
              <a:t>Simplifying</a:t>
            </a:r>
            <a:r>
              <a:rPr lang="de-DE" sz="6600" dirty="0">
                <a:solidFill>
                  <a:schemeClr val="tx2"/>
                </a:solidFill>
              </a:rPr>
              <a:t> </a:t>
            </a:r>
            <a:r>
              <a:rPr lang="de-DE" sz="6600" dirty="0" err="1">
                <a:solidFill>
                  <a:schemeClr val="tx2"/>
                </a:solidFill>
              </a:rPr>
              <a:t>recurring</a:t>
            </a:r>
            <a:r>
              <a:rPr lang="de-DE" sz="6600" dirty="0">
                <a:solidFill>
                  <a:schemeClr val="tx2"/>
                </a:solidFill>
              </a:rPr>
              <a:t> </a:t>
            </a:r>
            <a:r>
              <a:rPr lang="de-DE" sz="6600" dirty="0" err="1">
                <a:solidFill>
                  <a:schemeClr val="tx2"/>
                </a:solidFill>
              </a:rPr>
              <a:t>trips</a:t>
            </a:r>
            <a:r>
              <a:rPr lang="de-DE" sz="6600" dirty="0">
                <a:solidFill>
                  <a:schemeClr val="tx2"/>
                </a:solidFill>
              </a:rPr>
              <a:t> </a:t>
            </a:r>
            <a:br>
              <a:rPr lang="de-DE" sz="6600" dirty="0">
                <a:solidFill>
                  <a:schemeClr val="tx2"/>
                </a:solidFill>
              </a:rPr>
            </a:br>
            <a:r>
              <a:rPr lang="de-DE" sz="2800" dirty="0" err="1">
                <a:solidFill>
                  <a:schemeClr val="tx2"/>
                </a:solidFill>
              </a:rPr>
              <a:t>Improving</a:t>
            </a:r>
            <a:r>
              <a:rPr lang="de-DE" sz="2800" dirty="0">
                <a:solidFill>
                  <a:schemeClr val="tx2"/>
                </a:solidFill>
              </a:rPr>
              <a:t> </a:t>
            </a:r>
            <a:r>
              <a:rPr lang="en-US" sz="2800" b="1" dirty="0">
                <a:solidFill>
                  <a:schemeClr val="tx2"/>
                </a:solidFill>
              </a:rPr>
              <a:t>convenience</a:t>
            </a:r>
            <a:r>
              <a:rPr lang="de-DE" sz="2800" dirty="0">
                <a:solidFill>
                  <a:schemeClr val="tx2"/>
                </a:solidFill>
              </a:rPr>
              <a:t> and </a:t>
            </a:r>
            <a:r>
              <a:rPr lang="de-DE" sz="2800" b="1" dirty="0" err="1">
                <a:solidFill>
                  <a:schemeClr val="tx2"/>
                </a:solidFill>
              </a:rPr>
              <a:t>utilization</a:t>
            </a:r>
            <a:br>
              <a:rPr lang="de-DE" sz="2800" b="1" dirty="0">
                <a:solidFill>
                  <a:schemeClr val="tx2"/>
                </a:solidFill>
              </a:rPr>
            </a:br>
            <a:br>
              <a:rPr lang="de-DE" sz="2800" b="1" dirty="0">
                <a:solidFill>
                  <a:schemeClr val="tx2"/>
                </a:solidFill>
              </a:rPr>
            </a:br>
            <a:r>
              <a:rPr lang="de-DE" sz="2800" dirty="0">
                <a:solidFill>
                  <a:schemeClr val="tx2"/>
                </a:solidFill>
              </a:rPr>
              <a:t>Team </a:t>
            </a:r>
            <a:r>
              <a:rPr lang="de-DE" sz="2800" dirty="0" err="1">
                <a:solidFill>
                  <a:schemeClr val="tx2"/>
                </a:solidFill>
              </a:rPr>
              <a:t>Banh</a:t>
            </a:r>
            <a:r>
              <a:rPr lang="de-DE" sz="2800" dirty="0">
                <a:solidFill>
                  <a:schemeClr val="tx2"/>
                </a:solidFill>
              </a:rPr>
              <a:t> Mi</a:t>
            </a:r>
            <a:br>
              <a:rPr lang="de-DE" sz="2800" dirty="0">
                <a:solidFill>
                  <a:schemeClr val="tx2"/>
                </a:solidFill>
              </a:rPr>
            </a:br>
            <a:endParaRPr lang="de-DE" sz="28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9264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109AF7-D078-47B7-9643-50F2AFD8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2" y="609600"/>
            <a:ext cx="8596668" cy="723900"/>
          </a:xfrm>
        </p:spPr>
        <p:txBody>
          <a:bodyPr>
            <a:normAutofit/>
          </a:bodyPr>
          <a:lstStyle/>
          <a:p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ode</a:t>
            </a: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5" name="Plus Sign 14">
            <a:extLst>
              <a:ext uri="{FF2B5EF4-FFF2-40B4-BE49-F238E27FC236}">
                <a16:creationId xmlns:a16="http://schemas.microsoft.com/office/drawing/2014/main" id="{36B50424-725E-4E88-ABDA-1315E16E14AE}"/>
              </a:ext>
            </a:extLst>
          </p:cNvPr>
          <p:cNvSpPr/>
          <p:nvPr/>
        </p:nvSpPr>
        <p:spPr>
          <a:xfrm>
            <a:off x="5965703" y="4178421"/>
            <a:ext cx="360000" cy="360000"/>
          </a:xfrm>
          <a:prstGeom prst="mathPlu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Minus Sign 15">
            <a:extLst>
              <a:ext uri="{FF2B5EF4-FFF2-40B4-BE49-F238E27FC236}">
                <a16:creationId xmlns:a16="http://schemas.microsoft.com/office/drawing/2014/main" id="{F31C264A-279F-4295-8084-93965EA0409A}"/>
              </a:ext>
            </a:extLst>
          </p:cNvPr>
          <p:cNvSpPr/>
          <p:nvPr/>
        </p:nvSpPr>
        <p:spPr>
          <a:xfrm>
            <a:off x="5971439" y="4925158"/>
            <a:ext cx="360000" cy="360000"/>
          </a:xfrm>
          <a:prstGeom prst="mathMinu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D42D73B-8A25-4BEA-8566-CBC16D8986D4}"/>
              </a:ext>
            </a:extLst>
          </p:cNvPr>
          <p:cNvSpPr/>
          <p:nvPr/>
        </p:nvSpPr>
        <p:spPr>
          <a:xfrm>
            <a:off x="6485003" y="4127590"/>
            <a:ext cx="4235248" cy="4070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Many nice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libraries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or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ython</a:t>
            </a:r>
            <a:endParaRPr lang="de-DE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154770-69BB-434B-A7DE-1F1FC0E0E0E8}"/>
              </a:ext>
            </a:extLst>
          </p:cNvPr>
          <p:cNvSpPr/>
          <p:nvPr/>
        </p:nvSpPr>
        <p:spPr>
          <a:xfrm>
            <a:off x="6485003" y="4725103"/>
            <a:ext cx="4235248" cy="7078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More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xperience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with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pplication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and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rontend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evelopment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needed</a:t>
            </a:r>
            <a:endParaRPr lang="de-DE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Plus Sign 25">
            <a:extLst>
              <a:ext uri="{FF2B5EF4-FFF2-40B4-BE49-F238E27FC236}">
                <a16:creationId xmlns:a16="http://schemas.microsoft.com/office/drawing/2014/main" id="{7DA73780-B513-4D96-B714-18F5D8E8E572}"/>
              </a:ext>
            </a:extLst>
          </p:cNvPr>
          <p:cNvSpPr/>
          <p:nvPr/>
        </p:nvSpPr>
        <p:spPr>
          <a:xfrm>
            <a:off x="653474" y="4178421"/>
            <a:ext cx="360000" cy="360000"/>
          </a:xfrm>
          <a:prstGeom prst="mathPlu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35F6400-136B-494F-A474-7C32FD607CA6}"/>
              </a:ext>
            </a:extLst>
          </p:cNvPr>
          <p:cNvSpPr/>
          <p:nvPr/>
        </p:nvSpPr>
        <p:spPr>
          <a:xfrm>
            <a:off x="1172774" y="4127590"/>
            <a:ext cx="4035489" cy="4070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asy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to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mplement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(in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rinciple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27D6DCE-D42F-497E-AC12-95218A3023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7332" y="655863"/>
            <a:ext cx="5368066" cy="205195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830FBFE-236E-4A9A-9602-934F6294DDE6}"/>
              </a:ext>
            </a:extLst>
          </p:cNvPr>
          <p:cNvSpPr/>
          <p:nvPr/>
        </p:nvSpPr>
        <p:spPr>
          <a:xfrm>
            <a:off x="1172773" y="3596640"/>
            <a:ext cx="4035489" cy="4001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ros &amp; </a:t>
            </a:r>
            <a:r>
              <a:rPr lang="de-DE" sz="2000" b="1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ons</a:t>
            </a:r>
            <a:r>
              <a:rPr lang="de-D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b="1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of</a:t>
            </a:r>
            <a:r>
              <a:rPr lang="de-D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b="1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our</a:t>
            </a:r>
            <a:r>
              <a:rPr lang="de-D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b="1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solution</a:t>
            </a:r>
            <a:endParaRPr lang="en-US" sz="2000" b="1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EEDDE66-15C6-4831-A2FE-6C35EAAEC5E7}"/>
              </a:ext>
            </a:extLst>
          </p:cNvPr>
          <p:cNvSpPr/>
          <p:nvPr/>
        </p:nvSpPr>
        <p:spPr>
          <a:xfrm>
            <a:off x="6485002" y="3596639"/>
            <a:ext cx="4235247" cy="4001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2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Key </a:t>
            </a:r>
            <a:r>
              <a:rPr lang="de-DE" sz="2000" b="1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learnings</a:t>
            </a:r>
            <a:endParaRPr lang="en-US" sz="2000" b="1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A1103AE-192A-4AA8-89CE-346A7334864A}"/>
              </a:ext>
            </a:extLst>
          </p:cNvPr>
          <p:cNvSpPr/>
          <p:nvPr/>
        </p:nvSpPr>
        <p:spPr>
          <a:xfrm>
            <a:off x="1172774" y="4685629"/>
            <a:ext cx="4035489" cy="4070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Not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very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innovative</a:t>
            </a:r>
          </a:p>
        </p:txBody>
      </p:sp>
      <p:sp>
        <p:nvSpPr>
          <p:cNvPr id="31" name="Minus Sign 30">
            <a:extLst>
              <a:ext uri="{FF2B5EF4-FFF2-40B4-BE49-F238E27FC236}">
                <a16:creationId xmlns:a16="http://schemas.microsoft.com/office/drawing/2014/main" id="{F8A72252-7E46-42F0-A3E8-93D4F5C0FFB8}"/>
              </a:ext>
            </a:extLst>
          </p:cNvPr>
          <p:cNvSpPr/>
          <p:nvPr/>
        </p:nvSpPr>
        <p:spPr>
          <a:xfrm>
            <a:off x="662598" y="4698797"/>
            <a:ext cx="360000" cy="360000"/>
          </a:xfrm>
          <a:prstGeom prst="mathMinu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C33C736-C296-4C97-9B18-D6FF60D5AFB0}"/>
              </a:ext>
            </a:extLst>
          </p:cNvPr>
          <p:cNvSpPr/>
          <p:nvPr/>
        </p:nvSpPr>
        <p:spPr>
          <a:xfrm>
            <a:off x="6485003" y="5575136"/>
            <a:ext cx="4235248" cy="7078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Scrum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s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un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but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robably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works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better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with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ctual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evelopers</a:t>
            </a:r>
            <a:endParaRPr lang="de-DE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5" name="Minus Sign 34">
            <a:extLst>
              <a:ext uri="{FF2B5EF4-FFF2-40B4-BE49-F238E27FC236}">
                <a16:creationId xmlns:a16="http://schemas.microsoft.com/office/drawing/2014/main" id="{94AB5D33-568B-4406-8848-7C028982C034}"/>
              </a:ext>
            </a:extLst>
          </p:cNvPr>
          <p:cNvSpPr/>
          <p:nvPr/>
        </p:nvSpPr>
        <p:spPr>
          <a:xfrm>
            <a:off x="5971439" y="5749079"/>
            <a:ext cx="360000" cy="360000"/>
          </a:xfrm>
          <a:prstGeom prst="mathMinu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8740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24" grpId="0" animBg="1"/>
      <p:bldP spid="25" grpId="0" animBg="1"/>
      <p:bldP spid="26" grpId="0" animBg="1"/>
      <p:bldP spid="27" grpId="0" animBg="1"/>
      <p:bldP spid="11" grpId="0" animBg="1"/>
      <p:bldP spid="28" grpId="0" animBg="1"/>
      <p:bldP spid="30" grpId="0" animBg="1"/>
      <p:bldP spid="31" grpId="0" animBg="1"/>
      <p:bldP spid="32" grpId="0" animBg="1"/>
      <p:bldP spid="3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109AF7-D078-47B7-9643-50F2AFD8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2" y="609600"/>
            <a:ext cx="8596668" cy="1320800"/>
          </a:xfrm>
        </p:spPr>
        <p:txBody>
          <a:bodyPr>
            <a:normAutofit/>
          </a:bodyPr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approach</a:t>
            </a:r>
            <a:endParaRPr lang="de-DE" dirty="0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380700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109AF7-D078-47B7-9643-50F2AFD8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2" y="609600"/>
            <a:ext cx="8596668" cy="1320800"/>
          </a:xfrm>
        </p:spPr>
        <p:txBody>
          <a:bodyPr>
            <a:normAutofit/>
          </a:bodyPr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approach</a:t>
            </a:r>
            <a:endParaRPr lang="de-DE" dirty="0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C98145DB-E7EE-482D-BE8F-FA8AB2E47856}"/>
              </a:ext>
            </a:extLst>
          </p:cNvPr>
          <p:cNvGraphicFramePr/>
          <p:nvPr/>
        </p:nvGraphicFramePr>
        <p:xfrm>
          <a:off x="-608649" y="1623701"/>
          <a:ext cx="7103454" cy="4540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206311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109AF7-D078-47B7-9643-50F2AFD8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2" y="609600"/>
            <a:ext cx="8596668" cy="1320800"/>
          </a:xfrm>
        </p:spPr>
        <p:txBody>
          <a:bodyPr>
            <a:normAutofit/>
          </a:bodyPr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approach</a:t>
            </a:r>
            <a:endParaRPr lang="de-DE" dirty="0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C98145DB-E7EE-482D-BE8F-FA8AB2E478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07091987"/>
              </p:ext>
            </p:extLst>
          </p:nvPr>
        </p:nvGraphicFramePr>
        <p:xfrm>
          <a:off x="-608649" y="1623701"/>
          <a:ext cx="7103454" cy="4540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59501E51-947F-4DFE-9B30-6E1505739F7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2824743"/>
              </p:ext>
            </p:extLst>
          </p:nvPr>
        </p:nvGraphicFramePr>
        <p:xfrm>
          <a:off x="5153114" y="1623701"/>
          <a:ext cx="5508694" cy="4540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9279006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109AF7-D078-47B7-9643-50F2AFD8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1" y="609600"/>
            <a:ext cx="8986155" cy="1013840"/>
          </a:xfrm>
        </p:spPr>
        <p:txBody>
          <a:bodyPr>
            <a:normAutofit fontScale="90000"/>
          </a:bodyPr>
          <a:lstStyle/>
          <a:p>
            <a:r>
              <a:rPr lang="de-DE" dirty="0"/>
              <a:t>Feature </a:t>
            </a:r>
            <a:r>
              <a:rPr lang="de-DE" b="1" dirty="0" err="1"/>
              <a:t>recurring</a:t>
            </a:r>
            <a:r>
              <a:rPr lang="de-DE" b="1" dirty="0"/>
              <a:t> </a:t>
            </a:r>
            <a:r>
              <a:rPr lang="de-DE" b="1" dirty="0" err="1"/>
              <a:t>bookings</a:t>
            </a:r>
            <a:br>
              <a:rPr lang="de-DE" b="1" dirty="0"/>
            </a:br>
            <a:endParaRPr lang="de-DE" dirty="0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6" name="Grafik 15" descr="Auto">
            <a:extLst>
              <a:ext uri="{FF2B5EF4-FFF2-40B4-BE49-F238E27FC236}">
                <a16:creationId xmlns:a16="http://schemas.microsoft.com/office/drawing/2014/main" id="{0282C004-D7E8-4B94-8960-3B224EE4A7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05625" y="2965346"/>
            <a:ext cx="1244381" cy="1244381"/>
          </a:xfrm>
          <a:prstGeom prst="rect">
            <a:avLst/>
          </a:prstGeom>
        </p:spPr>
      </p:pic>
      <p:pic>
        <p:nvPicPr>
          <p:cNvPr id="22" name="Grafik 21" descr="Tageskalender">
            <a:extLst>
              <a:ext uri="{FF2B5EF4-FFF2-40B4-BE49-F238E27FC236}">
                <a16:creationId xmlns:a16="http://schemas.microsoft.com/office/drawing/2014/main" id="{3F977AEE-B2D4-4529-909D-C270A0F0D5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94785" y="3019925"/>
            <a:ext cx="1109006" cy="110900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2202D24-6789-4C16-BC7D-40493E452D32}"/>
              </a:ext>
            </a:extLst>
          </p:cNvPr>
          <p:cNvCxnSpPr>
            <a:cxnSpLocks/>
          </p:cNvCxnSpPr>
          <p:nvPr/>
        </p:nvCxnSpPr>
        <p:spPr>
          <a:xfrm flipV="1">
            <a:off x="4725241" y="4033136"/>
            <a:ext cx="0" cy="1062335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2395CCD0-0211-4572-9A81-F0B199015DF8}"/>
              </a:ext>
            </a:extLst>
          </p:cNvPr>
          <p:cNvSpPr txBox="1"/>
          <p:nvPr/>
        </p:nvSpPr>
        <p:spPr>
          <a:xfrm>
            <a:off x="2759187" y="4559736"/>
            <a:ext cx="1990101" cy="7078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Reminder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the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vening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before</a:t>
            </a:r>
            <a:endParaRPr lang="de-DE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B71812E-A3E4-4C00-A486-C84E57A73911}"/>
              </a:ext>
            </a:extLst>
          </p:cNvPr>
          <p:cNvCxnSpPr>
            <a:cxnSpLocks/>
          </p:cNvCxnSpPr>
          <p:nvPr/>
        </p:nvCxnSpPr>
        <p:spPr>
          <a:xfrm flipV="1">
            <a:off x="7851998" y="2038386"/>
            <a:ext cx="0" cy="1062335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3BDE3EB8-454C-4027-93FD-169BE0DF6CEB}"/>
              </a:ext>
            </a:extLst>
          </p:cNvPr>
          <p:cNvSpPr txBox="1"/>
          <p:nvPr/>
        </p:nvSpPr>
        <p:spPr>
          <a:xfrm>
            <a:off x="7827815" y="1806961"/>
            <a:ext cx="2899954" cy="7078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Unlock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rom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lockscreen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via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notification</a:t>
            </a:r>
            <a:endParaRPr lang="en-US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81AD927-388E-462B-BE33-BC75CC9F675F}"/>
              </a:ext>
            </a:extLst>
          </p:cNvPr>
          <p:cNvCxnSpPr>
            <a:cxnSpLocks/>
          </p:cNvCxnSpPr>
          <p:nvPr/>
        </p:nvCxnSpPr>
        <p:spPr>
          <a:xfrm flipV="1">
            <a:off x="4773471" y="1957590"/>
            <a:ext cx="0" cy="1062335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B3B1AF64-989F-498B-BD9A-18F25FB5CC0F}"/>
              </a:ext>
            </a:extLst>
          </p:cNvPr>
          <p:cNvSpPr txBox="1"/>
          <p:nvPr/>
        </p:nvSpPr>
        <p:spPr>
          <a:xfrm>
            <a:off x="2241687" y="1726164"/>
            <a:ext cx="2572444" cy="4074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Never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orget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to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book</a:t>
            </a:r>
            <a:endParaRPr lang="en-US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3F08220-57AC-4D4C-A855-2DECECD96198}"/>
              </a:ext>
            </a:extLst>
          </p:cNvPr>
          <p:cNvCxnSpPr>
            <a:cxnSpLocks/>
            <a:stCxn id="27" idx="3"/>
          </p:cNvCxnSpPr>
          <p:nvPr/>
        </p:nvCxnSpPr>
        <p:spPr>
          <a:xfrm>
            <a:off x="2828364" y="3169064"/>
            <a:ext cx="1053048" cy="0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69885E5A-C252-486C-BE66-17BA9EF65B46}"/>
              </a:ext>
            </a:extLst>
          </p:cNvPr>
          <p:cNvSpPr txBox="1"/>
          <p:nvPr/>
        </p:nvSpPr>
        <p:spPr>
          <a:xfrm>
            <a:off x="1516618" y="2965346"/>
            <a:ext cx="1311746" cy="4074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iscounts</a:t>
            </a:r>
            <a:endParaRPr lang="en-US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4843893-5FE5-4459-8503-7A846D8926A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86195">
            <a:off x="3731148" y="2620906"/>
            <a:ext cx="779524" cy="798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892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7" grpId="0" animBg="1"/>
      <p:bldP spid="25" grpId="0" animBg="1"/>
      <p:bldP spid="2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109AF7-D078-47B7-9643-50F2AFD8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1" y="609600"/>
            <a:ext cx="8986155" cy="1013840"/>
          </a:xfrm>
        </p:spPr>
        <p:txBody>
          <a:bodyPr>
            <a:normAutofit fontScale="90000"/>
          </a:bodyPr>
          <a:lstStyle/>
          <a:p>
            <a:r>
              <a:rPr lang="de-DE" dirty="0"/>
              <a:t>Feature </a:t>
            </a:r>
            <a:r>
              <a:rPr lang="de-DE" b="1" dirty="0" err="1"/>
              <a:t>recurring</a:t>
            </a:r>
            <a:r>
              <a:rPr lang="de-DE" b="1" dirty="0"/>
              <a:t> </a:t>
            </a:r>
            <a:r>
              <a:rPr lang="de-DE" b="1" dirty="0" err="1"/>
              <a:t>bookings</a:t>
            </a:r>
            <a:br>
              <a:rPr lang="de-DE" b="1" dirty="0"/>
            </a:br>
            <a:endParaRPr lang="de-DE" dirty="0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6" name="Grafik 15" descr="Auto">
            <a:extLst>
              <a:ext uri="{FF2B5EF4-FFF2-40B4-BE49-F238E27FC236}">
                <a16:creationId xmlns:a16="http://schemas.microsoft.com/office/drawing/2014/main" id="{0282C004-D7E8-4B94-8960-3B224EE4A7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05625" y="2965346"/>
            <a:ext cx="1244381" cy="1244381"/>
          </a:xfrm>
          <a:prstGeom prst="rect">
            <a:avLst/>
          </a:prstGeom>
        </p:spPr>
      </p:pic>
      <p:pic>
        <p:nvPicPr>
          <p:cNvPr id="22" name="Grafik 21" descr="Tageskalender">
            <a:extLst>
              <a:ext uri="{FF2B5EF4-FFF2-40B4-BE49-F238E27FC236}">
                <a16:creationId xmlns:a16="http://schemas.microsoft.com/office/drawing/2014/main" id="{3F977AEE-B2D4-4529-909D-C270A0F0D5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94785" y="3019925"/>
            <a:ext cx="1109006" cy="110900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2202D24-6789-4C16-BC7D-40493E452D32}"/>
              </a:ext>
            </a:extLst>
          </p:cNvPr>
          <p:cNvCxnSpPr>
            <a:cxnSpLocks/>
          </p:cNvCxnSpPr>
          <p:nvPr/>
        </p:nvCxnSpPr>
        <p:spPr>
          <a:xfrm flipV="1">
            <a:off x="4725241" y="4033137"/>
            <a:ext cx="0" cy="843663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2395CCD0-0211-4572-9A81-F0B199015DF8}"/>
              </a:ext>
            </a:extLst>
          </p:cNvPr>
          <p:cNvSpPr txBox="1"/>
          <p:nvPr/>
        </p:nvSpPr>
        <p:spPr>
          <a:xfrm>
            <a:off x="2759187" y="4559736"/>
            <a:ext cx="1990101" cy="4001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de-DE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B71812E-A3E4-4C00-A486-C84E57A73911}"/>
              </a:ext>
            </a:extLst>
          </p:cNvPr>
          <p:cNvCxnSpPr>
            <a:cxnSpLocks/>
          </p:cNvCxnSpPr>
          <p:nvPr/>
        </p:nvCxnSpPr>
        <p:spPr>
          <a:xfrm flipV="1">
            <a:off x="7851998" y="2038386"/>
            <a:ext cx="0" cy="1062335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3BDE3EB8-454C-4027-93FD-169BE0DF6CEB}"/>
              </a:ext>
            </a:extLst>
          </p:cNvPr>
          <p:cNvSpPr txBox="1"/>
          <p:nvPr/>
        </p:nvSpPr>
        <p:spPr>
          <a:xfrm>
            <a:off x="7827815" y="1806961"/>
            <a:ext cx="2899954" cy="4001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en-US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81AD927-388E-462B-BE33-BC75CC9F675F}"/>
              </a:ext>
            </a:extLst>
          </p:cNvPr>
          <p:cNvCxnSpPr>
            <a:cxnSpLocks/>
          </p:cNvCxnSpPr>
          <p:nvPr/>
        </p:nvCxnSpPr>
        <p:spPr>
          <a:xfrm flipV="1">
            <a:off x="4773471" y="1957590"/>
            <a:ext cx="0" cy="1062335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B3B1AF64-989F-498B-BD9A-18F25FB5CC0F}"/>
              </a:ext>
            </a:extLst>
          </p:cNvPr>
          <p:cNvSpPr txBox="1"/>
          <p:nvPr/>
        </p:nvSpPr>
        <p:spPr>
          <a:xfrm>
            <a:off x="2241687" y="1726164"/>
            <a:ext cx="2572444" cy="4074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en-US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3F08220-57AC-4D4C-A855-2DECECD96198}"/>
              </a:ext>
            </a:extLst>
          </p:cNvPr>
          <p:cNvCxnSpPr>
            <a:cxnSpLocks/>
            <a:stCxn id="27" idx="3"/>
          </p:cNvCxnSpPr>
          <p:nvPr/>
        </p:nvCxnSpPr>
        <p:spPr>
          <a:xfrm>
            <a:off x="2828364" y="3169064"/>
            <a:ext cx="1053048" cy="0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69885E5A-C252-486C-BE66-17BA9EF65B46}"/>
              </a:ext>
            </a:extLst>
          </p:cNvPr>
          <p:cNvSpPr txBox="1"/>
          <p:nvPr/>
        </p:nvSpPr>
        <p:spPr>
          <a:xfrm>
            <a:off x="1516618" y="2965346"/>
            <a:ext cx="1311746" cy="4074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en-US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4843893-5FE5-4459-8503-7A846D8926A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86195">
            <a:off x="3731148" y="2620906"/>
            <a:ext cx="779524" cy="798038"/>
          </a:xfrm>
          <a:prstGeom prst="rect">
            <a:avLst/>
          </a:prstGeom>
        </p:spPr>
      </p:pic>
      <p:sp>
        <p:nvSpPr>
          <p:cNvPr id="24" name="Textfeld 2">
            <a:extLst>
              <a:ext uri="{FF2B5EF4-FFF2-40B4-BE49-F238E27FC236}">
                <a16:creationId xmlns:a16="http://schemas.microsoft.com/office/drawing/2014/main" id="{9BA62B39-8916-40C3-B48C-73BECD579AA1}"/>
              </a:ext>
            </a:extLst>
          </p:cNvPr>
          <p:cNvSpPr txBox="1"/>
          <p:nvPr/>
        </p:nvSpPr>
        <p:spPr>
          <a:xfrm>
            <a:off x="6635519" y="4887792"/>
            <a:ext cx="3794264" cy="4001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err="1"/>
              <a:t>Planning</a:t>
            </a:r>
            <a:r>
              <a:rPr lang="de-DE" dirty="0"/>
              <a:t> </a:t>
            </a:r>
            <a:r>
              <a:rPr lang="de-DE" dirty="0" err="1"/>
              <a:t>safet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veryone</a:t>
            </a:r>
            <a:endParaRPr lang="de-DE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99C5F25-78A5-42C3-87BA-89317DC7C06C}"/>
              </a:ext>
            </a:extLst>
          </p:cNvPr>
          <p:cNvSpPr/>
          <p:nvPr/>
        </p:nvSpPr>
        <p:spPr>
          <a:xfrm>
            <a:off x="6632354" y="4359681"/>
            <a:ext cx="3771641" cy="4001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inancial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ncentives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or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users</a:t>
            </a:r>
            <a:endParaRPr lang="de-DE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7B98C3A-1B37-4453-A0E9-866B561B1F26}"/>
              </a:ext>
            </a:extLst>
          </p:cNvPr>
          <p:cNvSpPr/>
          <p:nvPr/>
        </p:nvSpPr>
        <p:spPr>
          <a:xfrm>
            <a:off x="6632355" y="5415903"/>
            <a:ext cx="3797428" cy="7078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Higher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utilization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rate and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ost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overage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or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the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landlord</a:t>
            </a:r>
            <a:endParaRPr lang="de-DE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1" name="Plus Sign 30">
            <a:extLst>
              <a:ext uri="{FF2B5EF4-FFF2-40B4-BE49-F238E27FC236}">
                <a16:creationId xmlns:a16="http://schemas.microsoft.com/office/drawing/2014/main" id="{90D3A606-A72C-4029-AE62-86092263D960}"/>
              </a:ext>
            </a:extLst>
          </p:cNvPr>
          <p:cNvSpPr/>
          <p:nvPr/>
        </p:nvSpPr>
        <p:spPr>
          <a:xfrm>
            <a:off x="6157298" y="5589846"/>
            <a:ext cx="360000" cy="360000"/>
          </a:xfrm>
          <a:prstGeom prst="mathPlu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Plus Sign 31">
            <a:extLst>
              <a:ext uri="{FF2B5EF4-FFF2-40B4-BE49-F238E27FC236}">
                <a16:creationId xmlns:a16="http://schemas.microsoft.com/office/drawing/2014/main" id="{418BAA3A-FD92-4470-AC2C-C13330387FCF}"/>
              </a:ext>
            </a:extLst>
          </p:cNvPr>
          <p:cNvSpPr/>
          <p:nvPr/>
        </p:nvSpPr>
        <p:spPr>
          <a:xfrm>
            <a:off x="6157298" y="4925598"/>
            <a:ext cx="360000" cy="360000"/>
          </a:xfrm>
          <a:prstGeom prst="mathPlu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Plus Sign 32">
            <a:extLst>
              <a:ext uri="{FF2B5EF4-FFF2-40B4-BE49-F238E27FC236}">
                <a16:creationId xmlns:a16="http://schemas.microsoft.com/office/drawing/2014/main" id="{10738738-AA7A-4C0F-B36D-0F31706081F2}"/>
              </a:ext>
            </a:extLst>
          </p:cNvPr>
          <p:cNvSpPr/>
          <p:nvPr/>
        </p:nvSpPr>
        <p:spPr>
          <a:xfrm>
            <a:off x="6157298" y="4399989"/>
            <a:ext cx="360000" cy="360000"/>
          </a:xfrm>
          <a:prstGeom prst="mathPlu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5681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3C049BA-6E89-4F85-942C-B15C8D13833E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3832" y="923596"/>
            <a:ext cx="3034394" cy="3034394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292571E-2AF9-4D42-BB46-8A55A8072737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9876" y="1813658"/>
            <a:ext cx="1657349" cy="1458467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E4797E63-4B46-4346-B33D-B1217EF95CEB}"/>
              </a:ext>
            </a:extLst>
          </p:cNvPr>
          <p:cNvSpPr txBox="1"/>
          <p:nvPr/>
        </p:nvSpPr>
        <p:spPr>
          <a:xfrm>
            <a:off x="3981079" y="2281282"/>
            <a:ext cx="4061234" cy="5232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/>
              <a:t>Eco-</a:t>
            </a:r>
            <a:r>
              <a:rPr lang="de-DE" sz="2800" dirty="0" err="1"/>
              <a:t>friendliness</a:t>
            </a:r>
            <a:endParaRPr lang="de-DE" sz="2800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785863F9-9D7D-4924-BFB2-EFE9B86590DF}"/>
              </a:ext>
            </a:extLst>
          </p:cNvPr>
          <p:cNvSpPr txBox="1"/>
          <p:nvPr/>
        </p:nvSpPr>
        <p:spPr>
          <a:xfrm>
            <a:off x="3981079" y="4453887"/>
            <a:ext cx="4061235" cy="9541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 err="1"/>
              <a:t>rewards</a:t>
            </a:r>
            <a:r>
              <a:rPr lang="de-DE" sz="2800" dirty="0"/>
              <a:t> and </a:t>
            </a:r>
            <a:r>
              <a:rPr lang="de-DE" sz="2800" dirty="0" err="1"/>
              <a:t>progress</a:t>
            </a:r>
            <a:r>
              <a:rPr lang="de-DE" sz="2800" dirty="0"/>
              <a:t> </a:t>
            </a:r>
            <a:r>
              <a:rPr lang="de-DE" sz="2800" dirty="0" err="1"/>
              <a:t>for</a:t>
            </a:r>
            <a:r>
              <a:rPr lang="de-DE" sz="2800" dirty="0"/>
              <a:t> </a:t>
            </a:r>
            <a:r>
              <a:rPr lang="de-DE" sz="2800" dirty="0" err="1"/>
              <a:t>good</a:t>
            </a:r>
            <a:r>
              <a:rPr lang="de-DE" sz="2800" dirty="0"/>
              <a:t> </a:t>
            </a:r>
            <a:r>
              <a:rPr lang="de-DE" sz="2800" dirty="0" err="1"/>
              <a:t>user</a:t>
            </a:r>
            <a:r>
              <a:rPr lang="de-DE" sz="2800" dirty="0"/>
              <a:t> </a:t>
            </a:r>
            <a:r>
              <a:rPr lang="de-DE" sz="2800" dirty="0" err="1"/>
              <a:t>behaviour</a:t>
            </a:r>
            <a:endParaRPr lang="de-DE" sz="2800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38DDE49E-F14B-4024-905F-B954FD66F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1" y="609600"/>
            <a:ext cx="8986155" cy="1013840"/>
          </a:xfrm>
        </p:spPr>
        <p:txBody>
          <a:bodyPr>
            <a:normAutofit fontScale="90000"/>
          </a:bodyPr>
          <a:lstStyle/>
          <a:p>
            <a:r>
              <a:rPr lang="de-DE" dirty="0"/>
              <a:t>Feature </a:t>
            </a:r>
            <a:r>
              <a:rPr lang="de-DE" b="1" dirty="0"/>
              <a:t>Gamification</a:t>
            </a:r>
            <a:br>
              <a:rPr lang="de-DE" b="1" dirty="0"/>
            </a:br>
            <a:endParaRPr lang="de-DE" dirty="0"/>
          </a:p>
        </p:txBody>
      </p:sp>
      <p:pic>
        <p:nvPicPr>
          <p:cNvPr id="8" name="Graphic 7" descr="Stars">
            <a:extLst>
              <a:ext uri="{FF2B5EF4-FFF2-40B4-BE49-F238E27FC236}">
                <a16:creationId xmlns:a16="http://schemas.microsoft.com/office/drawing/2014/main" id="{8AF38BDA-CD5E-4D09-AC7C-282DAEA88CD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9516" y="4271986"/>
            <a:ext cx="1343025" cy="134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3919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9F26095-2F2B-4A01-B845-2F3829897A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9716" y="508519"/>
            <a:ext cx="3228683" cy="57398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5527538F-4D4B-44BA-A2B3-F54AD2CC4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1" y="609600"/>
            <a:ext cx="8986155" cy="1013840"/>
          </a:xfrm>
        </p:spPr>
        <p:txBody>
          <a:bodyPr>
            <a:normAutofit/>
          </a:bodyPr>
          <a:lstStyle/>
          <a:p>
            <a:r>
              <a:rPr lang="de-DE" dirty="0" err="1"/>
              <a:t>Clickable</a:t>
            </a:r>
            <a:r>
              <a:rPr lang="de-DE" dirty="0"/>
              <a:t> </a:t>
            </a:r>
            <a:r>
              <a:rPr lang="de-DE" dirty="0" err="1"/>
              <a:t>mockup</a:t>
            </a:r>
            <a:endParaRPr lang="de-DE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F912BB7A-1863-4CF9-B52C-2D8A6CE47D02}"/>
              </a:ext>
            </a:extLst>
          </p:cNvPr>
          <p:cNvSpPr txBox="1">
            <a:spLocks/>
          </p:cNvSpPr>
          <p:nvPr/>
        </p:nvSpPr>
        <p:spPr>
          <a:xfrm>
            <a:off x="2031024" y="3506280"/>
            <a:ext cx="4486274" cy="101384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de-DE" sz="2000" dirty="0"/>
              <a:t>Implementation</a:t>
            </a:r>
            <a:r>
              <a:rPr lang="de-DE" sz="2400" dirty="0"/>
              <a:t> WIP…</a:t>
            </a:r>
          </a:p>
        </p:txBody>
      </p:sp>
    </p:spTree>
    <p:extLst>
      <p:ext uri="{BB962C8B-B14F-4D97-AF65-F5344CB8AC3E}">
        <p14:creationId xmlns:p14="http://schemas.microsoft.com/office/powerpoint/2010/main" val="14409031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109AF7-D078-47B7-9643-50F2AFD8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2" y="609600"/>
            <a:ext cx="8596668" cy="723900"/>
          </a:xfrm>
        </p:spPr>
        <p:txBody>
          <a:bodyPr>
            <a:normAutofit/>
          </a:bodyPr>
          <a:lstStyle/>
          <a:p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ode</a:t>
            </a: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BE7DA26-504D-499F-8904-55D2D15007AA}"/>
              </a:ext>
            </a:extLst>
          </p:cNvPr>
          <p:cNvSpPr/>
          <p:nvPr/>
        </p:nvSpPr>
        <p:spPr>
          <a:xfrm>
            <a:off x="1179261" y="3210923"/>
            <a:ext cx="1857375" cy="8953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571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Client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81DFDC7-7ACB-4EC8-8455-899BFCC963C7}"/>
              </a:ext>
            </a:extLst>
          </p:cNvPr>
          <p:cNvSpPr/>
          <p:nvPr/>
        </p:nvSpPr>
        <p:spPr>
          <a:xfrm>
            <a:off x="5090371" y="3210923"/>
            <a:ext cx="1857375" cy="8953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571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Server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7A53803-8641-4A04-ACC5-F1B2A72BC3DB}"/>
              </a:ext>
            </a:extLst>
          </p:cNvPr>
          <p:cNvSpPr/>
          <p:nvPr/>
        </p:nvSpPr>
        <p:spPr>
          <a:xfrm>
            <a:off x="1179261" y="2315573"/>
            <a:ext cx="1857375" cy="8953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571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GUI (</a:t>
            </a:r>
            <a:r>
              <a:rPr lang="de-DE" sz="2400" b="1" dirty="0" err="1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Kivy</a:t>
            </a:r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)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D912FF-AD61-4743-B3A3-71AA97BB4D6F}"/>
              </a:ext>
            </a:extLst>
          </p:cNvPr>
          <p:cNvSpPr/>
          <p:nvPr/>
        </p:nvSpPr>
        <p:spPr>
          <a:xfrm>
            <a:off x="9001482" y="3210923"/>
            <a:ext cx="1857375" cy="8953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571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Database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E70C4C-27E4-4AE9-B840-63EB328EF6C4}"/>
              </a:ext>
            </a:extLst>
          </p:cNvPr>
          <p:cNvSpPr/>
          <p:nvPr/>
        </p:nvSpPr>
        <p:spPr>
          <a:xfrm>
            <a:off x="9001482" y="4699998"/>
            <a:ext cx="1857375" cy="8953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571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Database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77EEF4A3-EB36-4E23-A247-D3D088890C6C}"/>
              </a:ext>
            </a:extLst>
          </p:cNvPr>
          <p:cNvCxnSpPr>
            <a:stCxn id="3" idx="3"/>
            <a:endCxn id="7" idx="1"/>
          </p:cNvCxnSpPr>
          <p:nvPr/>
        </p:nvCxnSpPr>
        <p:spPr>
          <a:xfrm>
            <a:off x="3036636" y="3658598"/>
            <a:ext cx="2053735" cy="0"/>
          </a:xfrm>
          <a:prstGeom prst="straightConnector1">
            <a:avLst/>
          </a:prstGeom>
          <a:ln w="57150">
            <a:solidFill>
              <a:srgbClr val="1482AC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2BA57FE-D57D-440B-A4B7-6D65E15F0E0B}"/>
              </a:ext>
            </a:extLst>
          </p:cNvPr>
          <p:cNvCxnSpPr>
            <a:cxnSpLocks/>
            <a:stCxn id="7" idx="3"/>
            <a:endCxn id="9" idx="1"/>
          </p:cNvCxnSpPr>
          <p:nvPr/>
        </p:nvCxnSpPr>
        <p:spPr>
          <a:xfrm>
            <a:off x="6947746" y="3658598"/>
            <a:ext cx="2053736" cy="0"/>
          </a:xfrm>
          <a:prstGeom prst="straightConnector1">
            <a:avLst/>
          </a:prstGeom>
          <a:ln w="57150">
            <a:solidFill>
              <a:srgbClr val="1482AC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A0145614-70A1-4BEC-BD5C-0994DB0662CF}"/>
              </a:ext>
            </a:extLst>
          </p:cNvPr>
          <p:cNvCxnSpPr>
            <a:stCxn id="7" idx="2"/>
            <a:endCxn id="10" idx="1"/>
          </p:cNvCxnSpPr>
          <p:nvPr/>
        </p:nvCxnSpPr>
        <p:spPr>
          <a:xfrm rot="16200000" flipH="1">
            <a:off x="6989570" y="3135761"/>
            <a:ext cx="1041400" cy="2982423"/>
          </a:xfrm>
          <a:prstGeom prst="bentConnector2">
            <a:avLst/>
          </a:prstGeom>
          <a:ln w="57150">
            <a:solidFill>
              <a:srgbClr val="1482AC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ED877B0B-4ED4-4E1A-8D4E-43DCA078C416}"/>
              </a:ext>
            </a:extLst>
          </p:cNvPr>
          <p:cNvSpPr/>
          <p:nvPr/>
        </p:nvSpPr>
        <p:spPr>
          <a:xfrm>
            <a:off x="3148755" y="2953748"/>
            <a:ext cx="1857375" cy="895350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Bottle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20FBF10-AFEF-47AE-AEAB-E0C236A94612}"/>
              </a:ext>
            </a:extLst>
          </p:cNvPr>
          <p:cNvSpPr/>
          <p:nvPr/>
        </p:nvSpPr>
        <p:spPr>
          <a:xfrm>
            <a:off x="7031987" y="2953748"/>
            <a:ext cx="1857375" cy="895350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API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4EBA142-A208-499F-AFBD-8C8A9B3BE3FF}"/>
              </a:ext>
            </a:extLst>
          </p:cNvPr>
          <p:cNvSpPr/>
          <p:nvPr/>
        </p:nvSpPr>
        <p:spPr>
          <a:xfrm>
            <a:off x="6362901" y="4385673"/>
            <a:ext cx="2174237" cy="895350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Hack: Pickle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1331785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</p:tagLst>
</file>

<file path=ppt/theme/theme1.xml><?xml version="1.0" encoding="utf-8"?>
<a:theme xmlns:a="http://schemas.openxmlformats.org/drawingml/2006/main" name="Facette">
  <a:themeElements>
    <a:clrScheme name="Blau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Facette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te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7</Words>
  <Application>Microsoft Office PowerPoint</Application>
  <PresentationFormat>Widescreen</PresentationFormat>
  <Paragraphs>41</Paragraphs>
  <Slides>1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haroni</vt:lpstr>
      <vt:lpstr>Arial</vt:lpstr>
      <vt:lpstr>Trebuchet MS</vt:lpstr>
      <vt:lpstr>Wingdings 3</vt:lpstr>
      <vt:lpstr>Facette</vt:lpstr>
      <vt:lpstr>Simplifying recurring trips  Improving convenience and utilization  Team Banh Mi </vt:lpstr>
      <vt:lpstr>Our approach</vt:lpstr>
      <vt:lpstr>Our approach</vt:lpstr>
      <vt:lpstr>Our approach</vt:lpstr>
      <vt:lpstr>Feature recurring bookings </vt:lpstr>
      <vt:lpstr>Feature recurring bookings </vt:lpstr>
      <vt:lpstr>Feature Gamification </vt:lpstr>
      <vt:lpstr>Clickable mockup</vt:lpstr>
      <vt:lpstr>Presentation of Code</vt:lpstr>
      <vt:lpstr>Presentation of Co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ving the planet - with routines</dc:title>
  <dc:creator>Kevin Cieslik</dc:creator>
  <cp:lastModifiedBy>Alexander Helber</cp:lastModifiedBy>
  <cp:revision>35</cp:revision>
  <dcterms:created xsi:type="dcterms:W3CDTF">2019-10-17T22:55:25Z</dcterms:created>
  <dcterms:modified xsi:type="dcterms:W3CDTF">2019-10-18T14:22:57Z</dcterms:modified>
</cp:coreProperties>
</file>